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3561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4" orient="horz" pos="32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7D"/>
    <a:srgbClr val="B8C9E3"/>
    <a:srgbClr val="A1F2FF"/>
    <a:srgbClr val="CEE6F3"/>
    <a:srgbClr val="1990D4"/>
    <a:srgbClr val="00003F"/>
    <a:srgbClr val="00B3E3"/>
    <a:srgbClr val="000099"/>
    <a:srgbClr val="DFECFD"/>
    <a:srgbClr val="F5FA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50" autoAdjust="0"/>
    <p:restoredTop sz="96201" autoAdjust="0"/>
  </p:normalViewPr>
  <p:slideViewPr>
    <p:cSldViewPr snapToGrid="0">
      <p:cViewPr varScale="1">
        <p:scale>
          <a:sx n="106" d="100"/>
          <a:sy n="106" d="100"/>
        </p:scale>
        <p:origin x="486" y="96"/>
      </p:cViewPr>
      <p:guideLst>
        <p:guide pos="3840"/>
        <p:guide orient="horz" pos="327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1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C30DC546-A160-40B6-92C2-C2C8C7C6873D}" type="datetimeFigureOut">
              <a:rPr lang="en-US" smtClean="0"/>
              <a:pPr/>
              <a:t>4/2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DD1A2537-3EE0-4E98-9EF3-DEFAB0CB95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88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1A2537-3EE0-4E98-9EF3-DEFAB0CB953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68815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1519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44686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083614-B309-4FBC-B91E-FE617CD6F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16A2D-842B-4196-AEF8-54FBA593F7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F4693-79F5-4AA8-9D0A-F8E292CE2C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8586E3-F188-4180-8D43-CF184C61D618}" type="datetimeFigureOut">
              <a:rPr lang="en-US" smtClean="0"/>
              <a:t>4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42E669-5AD1-4712-9719-9C97D81B8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856B2-33AA-4803-B4CE-B64251752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53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31" r:id="rId2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642115-F14B-4E01-A7B0-43523300B0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 Her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8037712-E338-4CF9-B074-6840FE6C95D9}"/>
              </a:ext>
            </a:extLst>
          </p:cNvPr>
          <p:cNvGrpSpPr/>
          <p:nvPr/>
        </p:nvGrpSpPr>
        <p:grpSpPr>
          <a:xfrm>
            <a:off x="982663" y="1418541"/>
            <a:ext cx="4692920" cy="1057197"/>
            <a:chOff x="982663" y="1418541"/>
            <a:chExt cx="4692920" cy="105719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50145AC3-70AE-49AD-9ADC-4AD36FF02CE7}"/>
                </a:ext>
              </a:extLst>
            </p:cNvPr>
            <p:cNvGrpSpPr/>
            <p:nvPr/>
          </p:nvGrpSpPr>
          <p:grpSpPr>
            <a:xfrm>
              <a:off x="982663" y="1418541"/>
              <a:ext cx="4692920" cy="1057197"/>
              <a:chOff x="982663" y="1418541"/>
              <a:chExt cx="4692920" cy="1057197"/>
            </a:xfrm>
          </p:grpSpPr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074FFCE3-D4BF-4382-9FAA-E3C294596EF8}"/>
                  </a:ext>
                </a:extLst>
              </p:cNvPr>
              <p:cNvSpPr/>
              <p:nvPr/>
            </p:nvSpPr>
            <p:spPr>
              <a:xfrm>
                <a:off x="982663" y="1419071"/>
                <a:ext cx="1053760" cy="911110"/>
              </a:xfrm>
              <a:custGeom>
                <a:avLst/>
                <a:gdLst>
                  <a:gd name="connsiteX0" fmla="*/ 379952 w 379952"/>
                  <a:gd name="connsiteY0" fmla="*/ 0 h 328517"/>
                  <a:gd name="connsiteX1" fmla="*/ 38576 w 379952"/>
                  <a:gd name="connsiteY1" fmla="*/ 0 h 328517"/>
                  <a:gd name="connsiteX2" fmla="*/ 0 w 379952"/>
                  <a:gd name="connsiteY2" fmla="*/ 38100 h 328517"/>
                  <a:gd name="connsiteX3" fmla="*/ 0 w 379952"/>
                  <a:gd name="connsiteY3" fmla="*/ 289941 h 328517"/>
                  <a:gd name="connsiteX4" fmla="*/ 38576 w 379952"/>
                  <a:gd name="connsiteY4" fmla="*/ 328517 h 328517"/>
                  <a:gd name="connsiteX5" fmla="*/ 329851 w 379952"/>
                  <a:gd name="connsiteY5" fmla="*/ 328517 h 328517"/>
                  <a:gd name="connsiteX6" fmla="*/ 379952 w 379952"/>
                  <a:gd name="connsiteY6" fmla="*/ 278416 h 3285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79952" h="328517">
                    <a:moveTo>
                      <a:pt x="379952" y="0"/>
                    </a:moveTo>
                    <a:lnTo>
                      <a:pt x="38576" y="0"/>
                    </a:lnTo>
                    <a:cubicBezTo>
                      <a:pt x="17479" y="50"/>
                      <a:pt x="315" y="17003"/>
                      <a:pt x="0" y="38100"/>
                    </a:cubicBezTo>
                    <a:lnTo>
                      <a:pt x="0" y="289941"/>
                    </a:lnTo>
                    <a:cubicBezTo>
                      <a:pt x="48" y="311225"/>
                      <a:pt x="17297" y="328465"/>
                      <a:pt x="38576" y="328517"/>
                    </a:cubicBezTo>
                    <a:lnTo>
                      <a:pt x="329851" y="328517"/>
                    </a:lnTo>
                    <a:cubicBezTo>
                      <a:pt x="357521" y="328517"/>
                      <a:pt x="379952" y="306086"/>
                      <a:pt x="379952" y="27841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59605102-4D39-4B69-8387-1863F4B1EEBE}"/>
                  </a:ext>
                </a:extLst>
              </p:cNvPr>
              <p:cNvSpPr/>
              <p:nvPr/>
            </p:nvSpPr>
            <p:spPr>
              <a:xfrm>
                <a:off x="2222399" y="1419071"/>
                <a:ext cx="3453184" cy="1056667"/>
              </a:xfrm>
              <a:custGeom>
                <a:avLst/>
                <a:gdLst>
                  <a:gd name="connsiteX0" fmla="*/ 1178433 w 1245107"/>
                  <a:gd name="connsiteY0" fmla="*/ 0 h 381000"/>
                  <a:gd name="connsiteX1" fmla="*/ 0 w 1245107"/>
                  <a:gd name="connsiteY1" fmla="*/ 0 h 381000"/>
                  <a:gd name="connsiteX2" fmla="*/ 0 w 1245107"/>
                  <a:gd name="connsiteY2" fmla="*/ 297180 h 381000"/>
                  <a:gd name="connsiteX3" fmla="*/ 83820 w 1245107"/>
                  <a:gd name="connsiteY3" fmla="*/ 381000 h 381000"/>
                  <a:gd name="connsiteX4" fmla="*/ 1178433 w 1245107"/>
                  <a:gd name="connsiteY4" fmla="*/ 381000 h 381000"/>
                  <a:gd name="connsiteX5" fmla="*/ 1245108 w 1245107"/>
                  <a:gd name="connsiteY5" fmla="*/ 314325 h 381000"/>
                  <a:gd name="connsiteX6" fmla="*/ 1245108 w 1245107"/>
                  <a:gd name="connsiteY6" fmla="*/ 66675 h 381000"/>
                  <a:gd name="connsiteX7" fmla="*/ 1178433 w 1245107"/>
                  <a:gd name="connsiteY7" fmla="*/ 0 h 381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245107" h="381000">
                    <a:moveTo>
                      <a:pt x="1178433" y="0"/>
                    </a:moveTo>
                    <a:lnTo>
                      <a:pt x="0" y="0"/>
                    </a:lnTo>
                    <a:lnTo>
                      <a:pt x="0" y="297180"/>
                    </a:lnTo>
                    <a:cubicBezTo>
                      <a:pt x="152" y="343408"/>
                      <a:pt x="37595" y="380843"/>
                      <a:pt x="83820" y="381000"/>
                    </a:cubicBezTo>
                    <a:lnTo>
                      <a:pt x="1178433" y="381000"/>
                    </a:lnTo>
                    <a:cubicBezTo>
                      <a:pt x="1215257" y="381000"/>
                      <a:pt x="1245108" y="351149"/>
                      <a:pt x="1245108" y="314325"/>
                    </a:cubicBezTo>
                    <a:lnTo>
                      <a:pt x="1245108" y="66675"/>
                    </a:lnTo>
                    <a:cubicBezTo>
                      <a:pt x="1245108" y="29851"/>
                      <a:pt x="1215257" y="0"/>
                      <a:pt x="117843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83C559F9-2A1F-4C11-A27F-BE95F712F9D3}"/>
                  </a:ext>
                </a:extLst>
              </p:cNvPr>
              <p:cNvSpPr/>
              <p:nvPr/>
            </p:nvSpPr>
            <p:spPr>
              <a:xfrm>
                <a:off x="2036426" y="1418541"/>
                <a:ext cx="185973" cy="242767"/>
              </a:xfrm>
              <a:custGeom>
                <a:avLst/>
                <a:gdLst>
                  <a:gd name="connsiteX0" fmla="*/ 0 w 67056"/>
                  <a:gd name="connsiteY0" fmla="*/ 0 h 87534"/>
                  <a:gd name="connsiteX1" fmla="*/ 67056 w 67056"/>
                  <a:gd name="connsiteY1" fmla="*/ 0 h 87534"/>
                  <a:gd name="connsiteX2" fmla="*/ 67056 w 67056"/>
                  <a:gd name="connsiteY2" fmla="*/ 87535 h 87534"/>
                  <a:gd name="connsiteX3" fmla="*/ 0 w 67056"/>
                  <a:gd name="connsiteY3" fmla="*/ 87535 h 87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056" h="87534">
                    <a:moveTo>
                      <a:pt x="0" y="0"/>
                    </a:moveTo>
                    <a:lnTo>
                      <a:pt x="67056" y="0"/>
                    </a:lnTo>
                    <a:lnTo>
                      <a:pt x="67056" y="87535"/>
                    </a:lnTo>
                    <a:lnTo>
                      <a:pt x="0" y="87535"/>
                    </a:lnTo>
                    <a:close/>
                  </a:path>
                </a:pathLst>
              </a:custGeom>
              <a:solidFill>
                <a:schemeClr val="bg2">
                  <a:lumMod val="90000"/>
                </a:scheme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27FE9BD7-2CDF-4608-A1C3-172883D12529}"/>
                </a:ext>
              </a:extLst>
            </p:cNvPr>
            <p:cNvGrpSpPr/>
            <p:nvPr/>
          </p:nvGrpSpPr>
          <p:grpSpPr>
            <a:xfrm>
              <a:off x="1109739" y="1529729"/>
              <a:ext cx="4496602" cy="754906"/>
              <a:chOff x="1109739" y="1550749"/>
              <a:chExt cx="4496602" cy="754906"/>
            </a:xfrm>
          </p:grpSpPr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C9CE2C09-AE25-42EB-B38F-79087F9FF02B}"/>
                  </a:ext>
                </a:extLst>
              </p:cNvPr>
              <p:cNvSpPr txBox="1"/>
              <p:nvPr/>
            </p:nvSpPr>
            <p:spPr>
              <a:xfrm>
                <a:off x="1109739" y="1550749"/>
                <a:ext cx="771365" cy="646331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l"/>
                <a:r>
                  <a:rPr lang="en-US" sz="3600" spc="0" baseline="0" dirty="0">
                    <a:solidFill>
                      <a:schemeClr val="bg1"/>
                    </a:solidFill>
                    <a:latin typeface="+mj-lt"/>
                    <a:sym typeface="Raleway"/>
                    <a:rtl val="0"/>
                  </a:rPr>
                  <a:t>01</a:t>
                </a: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AF6D1028-1807-48ED-B5C5-CAD861F1D48B}"/>
                  </a:ext>
                </a:extLst>
              </p:cNvPr>
              <p:cNvSpPr txBox="1"/>
              <p:nvPr/>
            </p:nvSpPr>
            <p:spPr>
              <a:xfrm>
                <a:off x="2291640" y="1843990"/>
                <a:ext cx="331470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d-ID" sz="1200" dirty="0">
                    <a:solidFill>
                      <a:schemeClr val="bg1"/>
                    </a:solidFill>
                  </a:rPr>
                  <a:t>Lorem ipsum dolor sit amet, consectetuer adipiscing elit, sed diam nonummy. </a:t>
                </a: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AB423AB0-83CC-4238-8283-D7D7A44A51EA}"/>
                  </a:ext>
                </a:extLst>
              </p:cNvPr>
              <p:cNvSpPr txBox="1"/>
              <p:nvPr/>
            </p:nvSpPr>
            <p:spPr>
              <a:xfrm>
                <a:off x="2291640" y="1550749"/>
                <a:ext cx="258772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d-ID" sz="1600" dirty="0">
                    <a:solidFill>
                      <a:schemeClr val="bg1"/>
                    </a:solidFill>
                    <a:latin typeface="+mj-lt"/>
                  </a:rPr>
                  <a:t>Insert title here</a:t>
                </a:r>
              </a:p>
            </p:txBody>
          </p:sp>
        </p:grp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4AD5559D-9DD8-463F-BC75-335F66BA2716}"/>
              </a:ext>
            </a:extLst>
          </p:cNvPr>
          <p:cNvGrpSpPr/>
          <p:nvPr/>
        </p:nvGrpSpPr>
        <p:grpSpPr>
          <a:xfrm>
            <a:off x="982663" y="2624198"/>
            <a:ext cx="4692923" cy="1057457"/>
            <a:chOff x="982663" y="2624198"/>
            <a:chExt cx="4692923" cy="1057457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33E724CD-CBD2-42F2-BF94-840636FC081B}"/>
                </a:ext>
              </a:extLst>
            </p:cNvPr>
            <p:cNvSpPr/>
            <p:nvPr/>
          </p:nvSpPr>
          <p:spPr>
            <a:xfrm>
              <a:off x="982663" y="2624198"/>
              <a:ext cx="1053760" cy="910581"/>
            </a:xfrm>
            <a:custGeom>
              <a:avLst/>
              <a:gdLst>
                <a:gd name="connsiteX0" fmla="*/ 379952 w 379952"/>
                <a:gd name="connsiteY0" fmla="*/ 0 h 328326"/>
                <a:gd name="connsiteX1" fmla="*/ 38576 w 379952"/>
                <a:gd name="connsiteY1" fmla="*/ 0 h 328326"/>
                <a:gd name="connsiteX2" fmla="*/ 0 w 379952"/>
                <a:gd name="connsiteY2" fmla="*/ 38576 h 328326"/>
                <a:gd name="connsiteX3" fmla="*/ 0 w 379952"/>
                <a:gd name="connsiteY3" fmla="*/ 290227 h 328326"/>
                <a:gd name="connsiteX4" fmla="*/ 38576 w 379952"/>
                <a:gd name="connsiteY4" fmla="*/ 328327 h 328326"/>
                <a:gd name="connsiteX5" fmla="*/ 329851 w 379952"/>
                <a:gd name="connsiteY5" fmla="*/ 328327 h 328326"/>
                <a:gd name="connsiteX6" fmla="*/ 379952 w 379952"/>
                <a:gd name="connsiteY6" fmla="*/ 278416 h 328326"/>
                <a:gd name="connsiteX7" fmla="*/ 379952 w 379952"/>
                <a:gd name="connsiteY7" fmla="*/ 278225 h 32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9952" h="328326">
                  <a:moveTo>
                    <a:pt x="379952" y="0"/>
                  </a:moveTo>
                  <a:lnTo>
                    <a:pt x="38576" y="0"/>
                  </a:lnTo>
                  <a:cubicBezTo>
                    <a:pt x="17297" y="52"/>
                    <a:pt x="57" y="17293"/>
                    <a:pt x="0" y="38576"/>
                  </a:cubicBezTo>
                  <a:lnTo>
                    <a:pt x="0" y="290227"/>
                  </a:lnTo>
                  <a:cubicBezTo>
                    <a:pt x="315" y="311324"/>
                    <a:pt x="17479" y="328277"/>
                    <a:pt x="38576" y="328327"/>
                  </a:cubicBezTo>
                  <a:lnTo>
                    <a:pt x="329851" y="328327"/>
                  </a:lnTo>
                  <a:cubicBezTo>
                    <a:pt x="357464" y="328379"/>
                    <a:pt x="379895" y="306033"/>
                    <a:pt x="379952" y="278416"/>
                  </a:cubicBezTo>
                  <a:cubicBezTo>
                    <a:pt x="379952" y="278352"/>
                    <a:pt x="379952" y="278289"/>
                    <a:pt x="379952" y="27822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97A94EE9-9982-4898-979B-C1D4D8B12EAA}"/>
                </a:ext>
              </a:extLst>
            </p:cNvPr>
            <p:cNvSpPr/>
            <p:nvPr/>
          </p:nvSpPr>
          <p:spPr>
            <a:xfrm>
              <a:off x="2222399" y="2624198"/>
              <a:ext cx="3453187" cy="1057457"/>
            </a:xfrm>
            <a:custGeom>
              <a:avLst/>
              <a:gdLst>
                <a:gd name="connsiteX0" fmla="*/ 1178433 w 1245108"/>
                <a:gd name="connsiteY0" fmla="*/ 0 h 381285"/>
                <a:gd name="connsiteX1" fmla="*/ 0 w 1245108"/>
                <a:gd name="connsiteY1" fmla="*/ 0 h 381285"/>
                <a:gd name="connsiteX2" fmla="*/ 0 w 1245108"/>
                <a:gd name="connsiteY2" fmla="*/ 297275 h 381285"/>
                <a:gd name="connsiteX3" fmla="*/ 83820 w 1245108"/>
                <a:gd name="connsiteY3" fmla="*/ 381286 h 381285"/>
                <a:gd name="connsiteX4" fmla="*/ 1178433 w 1245108"/>
                <a:gd name="connsiteY4" fmla="*/ 381286 h 381285"/>
                <a:gd name="connsiteX5" fmla="*/ 1245108 w 1245108"/>
                <a:gd name="connsiteY5" fmla="*/ 314611 h 381285"/>
                <a:gd name="connsiteX6" fmla="*/ 1245108 w 1245108"/>
                <a:gd name="connsiteY6" fmla="*/ 66961 h 381285"/>
                <a:gd name="connsiteX7" fmla="*/ 1178719 w 1245108"/>
                <a:gd name="connsiteY7" fmla="*/ 1 h 381285"/>
                <a:gd name="connsiteX8" fmla="*/ 1178433 w 1245108"/>
                <a:gd name="connsiteY8" fmla="*/ 0 h 381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5108" h="381285">
                  <a:moveTo>
                    <a:pt x="1178433" y="0"/>
                  </a:moveTo>
                  <a:lnTo>
                    <a:pt x="0" y="0"/>
                  </a:lnTo>
                  <a:lnTo>
                    <a:pt x="0" y="297275"/>
                  </a:lnTo>
                  <a:cubicBezTo>
                    <a:pt x="0" y="343599"/>
                    <a:pt x="37500" y="381181"/>
                    <a:pt x="83820" y="381286"/>
                  </a:cubicBezTo>
                  <a:lnTo>
                    <a:pt x="1178433" y="381286"/>
                  </a:lnTo>
                  <a:cubicBezTo>
                    <a:pt x="1215257" y="381286"/>
                    <a:pt x="1245108" y="351434"/>
                    <a:pt x="1245108" y="314611"/>
                  </a:cubicBezTo>
                  <a:lnTo>
                    <a:pt x="1245108" y="66961"/>
                  </a:lnTo>
                  <a:cubicBezTo>
                    <a:pt x="1245270" y="30137"/>
                    <a:pt x="1215542" y="158"/>
                    <a:pt x="1178719" y="1"/>
                  </a:cubicBezTo>
                  <a:cubicBezTo>
                    <a:pt x="1178623" y="0"/>
                    <a:pt x="1178528" y="0"/>
                    <a:pt x="1178433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76DADABB-97B2-48B7-BA6B-76A0D8AA79B0}"/>
                </a:ext>
              </a:extLst>
            </p:cNvPr>
            <p:cNvSpPr/>
            <p:nvPr/>
          </p:nvSpPr>
          <p:spPr>
            <a:xfrm>
              <a:off x="2036426" y="2624198"/>
              <a:ext cx="185973" cy="242767"/>
            </a:xfrm>
            <a:custGeom>
              <a:avLst/>
              <a:gdLst>
                <a:gd name="connsiteX0" fmla="*/ 0 w 67056"/>
                <a:gd name="connsiteY0" fmla="*/ 0 h 87534"/>
                <a:gd name="connsiteX1" fmla="*/ 67056 w 67056"/>
                <a:gd name="connsiteY1" fmla="*/ 0 h 87534"/>
                <a:gd name="connsiteX2" fmla="*/ 67056 w 67056"/>
                <a:gd name="connsiteY2" fmla="*/ 87535 h 87534"/>
                <a:gd name="connsiteX3" fmla="*/ 0 w 67056"/>
                <a:gd name="connsiteY3" fmla="*/ 87535 h 87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056" h="87534">
                  <a:moveTo>
                    <a:pt x="0" y="0"/>
                  </a:moveTo>
                  <a:lnTo>
                    <a:pt x="67056" y="0"/>
                  </a:lnTo>
                  <a:lnTo>
                    <a:pt x="67056" y="87535"/>
                  </a:lnTo>
                  <a:lnTo>
                    <a:pt x="0" y="87535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FBC89BCF-4492-4D0C-9FF5-0C5CABC59C4E}"/>
                </a:ext>
              </a:extLst>
            </p:cNvPr>
            <p:cNvGrpSpPr/>
            <p:nvPr/>
          </p:nvGrpSpPr>
          <p:grpSpPr>
            <a:xfrm>
              <a:off x="1109739" y="2734029"/>
              <a:ext cx="4496602" cy="754906"/>
              <a:chOff x="1109739" y="1550749"/>
              <a:chExt cx="4496602" cy="754906"/>
            </a:xfrm>
          </p:grpSpPr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CA52F533-6336-4688-AC4A-EACB76EA4BBE}"/>
                  </a:ext>
                </a:extLst>
              </p:cNvPr>
              <p:cNvSpPr txBox="1"/>
              <p:nvPr/>
            </p:nvSpPr>
            <p:spPr>
              <a:xfrm>
                <a:off x="1109739" y="1550749"/>
                <a:ext cx="771365" cy="646331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l"/>
                <a:r>
                  <a:rPr lang="en-US" sz="3600" spc="0" baseline="0" dirty="0">
                    <a:solidFill>
                      <a:schemeClr val="bg1"/>
                    </a:solidFill>
                    <a:latin typeface="+mj-lt"/>
                    <a:sym typeface="Raleway"/>
                    <a:rtl val="0"/>
                  </a:rPr>
                  <a:t>02</a:t>
                </a: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0FDBFE44-5DE9-45FD-A151-EC09126EC4AB}"/>
                  </a:ext>
                </a:extLst>
              </p:cNvPr>
              <p:cNvSpPr txBox="1"/>
              <p:nvPr/>
            </p:nvSpPr>
            <p:spPr>
              <a:xfrm>
                <a:off x="2291640" y="1843990"/>
                <a:ext cx="331470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d-ID" sz="1200" dirty="0">
                    <a:solidFill>
                      <a:schemeClr val="bg1"/>
                    </a:solidFill>
                  </a:rPr>
                  <a:t>Lorem ipsum dolor sit amet, consectetuer adipiscing elit, sed diam nonummy. </a:t>
                </a:r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BAD5B20B-6CB2-41E4-B61D-2691D3387334}"/>
                  </a:ext>
                </a:extLst>
              </p:cNvPr>
              <p:cNvSpPr txBox="1"/>
              <p:nvPr/>
            </p:nvSpPr>
            <p:spPr>
              <a:xfrm>
                <a:off x="2291640" y="1550749"/>
                <a:ext cx="258772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d-ID" sz="1600" dirty="0">
                    <a:solidFill>
                      <a:schemeClr val="bg1"/>
                    </a:solidFill>
                    <a:latin typeface="+mj-lt"/>
                  </a:rPr>
                  <a:t>Insert title here</a:t>
                </a:r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EDA97B4-C5A9-46C0-9CB9-D22987CF5137}"/>
              </a:ext>
            </a:extLst>
          </p:cNvPr>
          <p:cNvGrpSpPr/>
          <p:nvPr/>
        </p:nvGrpSpPr>
        <p:grpSpPr>
          <a:xfrm>
            <a:off x="982663" y="3830118"/>
            <a:ext cx="4692923" cy="1057457"/>
            <a:chOff x="982663" y="3830118"/>
            <a:chExt cx="4692923" cy="1057457"/>
          </a:xfrm>
        </p:grpSpPr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5AC024CD-3CAF-4787-A28F-52569BDD6702}"/>
                </a:ext>
              </a:extLst>
            </p:cNvPr>
            <p:cNvSpPr/>
            <p:nvPr/>
          </p:nvSpPr>
          <p:spPr>
            <a:xfrm>
              <a:off x="982663" y="3830118"/>
              <a:ext cx="1053760" cy="910581"/>
            </a:xfrm>
            <a:custGeom>
              <a:avLst/>
              <a:gdLst>
                <a:gd name="connsiteX0" fmla="*/ 379952 w 379952"/>
                <a:gd name="connsiteY0" fmla="*/ 0 h 328326"/>
                <a:gd name="connsiteX1" fmla="*/ 38576 w 379952"/>
                <a:gd name="connsiteY1" fmla="*/ 0 h 328326"/>
                <a:gd name="connsiteX2" fmla="*/ 0 w 379952"/>
                <a:gd name="connsiteY2" fmla="*/ 38100 h 328326"/>
                <a:gd name="connsiteX3" fmla="*/ 0 w 379952"/>
                <a:gd name="connsiteY3" fmla="*/ 289751 h 328326"/>
                <a:gd name="connsiteX4" fmla="*/ 38576 w 379952"/>
                <a:gd name="connsiteY4" fmla="*/ 328327 h 328326"/>
                <a:gd name="connsiteX5" fmla="*/ 329851 w 379952"/>
                <a:gd name="connsiteY5" fmla="*/ 328327 h 328326"/>
                <a:gd name="connsiteX6" fmla="*/ 379952 w 379952"/>
                <a:gd name="connsiteY6" fmla="*/ 278225 h 32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9952" h="328326">
                  <a:moveTo>
                    <a:pt x="379952" y="0"/>
                  </a:moveTo>
                  <a:lnTo>
                    <a:pt x="38576" y="0"/>
                  </a:lnTo>
                  <a:cubicBezTo>
                    <a:pt x="17479" y="48"/>
                    <a:pt x="315" y="17002"/>
                    <a:pt x="0" y="38100"/>
                  </a:cubicBezTo>
                  <a:lnTo>
                    <a:pt x="0" y="289751"/>
                  </a:lnTo>
                  <a:cubicBezTo>
                    <a:pt x="48" y="311029"/>
                    <a:pt x="17297" y="328279"/>
                    <a:pt x="38576" y="328327"/>
                  </a:cubicBezTo>
                  <a:lnTo>
                    <a:pt x="329851" y="328327"/>
                  </a:lnTo>
                  <a:cubicBezTo>
                    <a:pt x="357521" y="328327"/>
                    <a:pt x="379952" y="305895"/>
                    <a:pt x="379952" y="278225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B007D297-6120-4CE4-ACBC-EC92A19596DF}"/>
                </a:ext>
              </a:extLst>
            </p:cNvPr>
            <p:cNvSpPr/>
            <p:nvPr/>
          </p:nvSpPr>
          <p:spPr>
            <a:xfrm>
              <a:off x="2222399" y="3830118"/>
              <a:ext cx="3453187" cy="1057457"/>
            </a:xfrm>
            <a:custGeom>
              <a:avLst/>
              <a:gdLst>
                <a:gd name="connsiteX0" fmla="*/ 1178433 w 1245108"/>
                <a:gd name="connsiteY0" fmla="*/ 0 h 381285"/>
                <a:gd name="connsiteX1" fmla="*/ 0 w 1245108"/>
                <a:gd name="connsiteY1" fmla="*/ 0 h 381285"/>
                <a:gd name="connsiteX2" fmla="*/ 0 w 1245108"/>
                <a:gd name="connsiteY2" fmla="*/ 297180 h 381285"/>
                <a:gd name="connsiteX3" fmla="*/ 83820 w 1245108"/>
                <a:gd name="connsiteY3" fmla="*/ 381286 h 381285"/>
                <a:gd name="connsiteX4" fmla="*/ 1178433 w 1245108"/>
                <a:gd name="connsiteY4" fmla="*/ 381286 h 381285"/>
                <a:gd name="connsiteX5" fmla="*/ 1245108 w 1245108"/>
                <a:gd name="connsiteY5" fmla="*/ 314611 h 381285"/>
                <a:gd name="connsiteX6" fmla="*/ 1245108 w 1245108"/>
                <a:gd name="connsiteY6" fmla="*/ 66961 h 381285"/>
                <a:gd name="connsiteX7" fmla="*/ 1178719 w 1245108"/>
                <a:gd name="connsiteY7" fmla="*/ 0 h 381285"/>
                <a:gd name="connsiteX8" fmla="*/ 1178433 w 1245108"/>
                <a:gd name="connsiteY8" fmla="*/ 0 h 381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5108" h="381285">
                  <a:moveTo>
                    <a:pt x="1178433" y="0"/>
                  </a:moveTo>
                  <a:lnTo>
                    <a:pt x="0" y="0"/>
                  </a:lnTo>
                  <a:lnTo>
                    <a:pt x="0" y="297180"/>
                  </a:lnTo>
                  <a:cubicBezTo>
                    <a:pt x="0" y="343519"/>
                    <a:pt x="37481" y="381124"/>
                    <a:pt x="83820" y="381286"/>
                  </a:cubicBezTo>
                  <a:lnTo>
                    <a:pt x="1178433" y="381286"/>
                  </a:lnTo>
                  <a:cubicBezTo>
                    <a:pt x="1215257" y="381286"/>
                    <a:pt x="1245108" y="351434"/>
                    <a:pt x="1245108" y="314611"/>
                  </a:cubicBezTo>
                  <a:lnTo>
                    <a:pt x="1245108" y="66961"/>
                  </a:lnTo>
                  <a:cubicBezTo>
                    <a:pt x="1245270" y="30137"/>
                    <a:pt x="1215542" y="162"/>
                    <a:pt x="1178719" y="0"/>
                  </a:cubicBezTo>
                  <a:cubicBezTo>
                    <a:pt x="1178623" y="0"/>
                    <a:pt x="1178528" y="0"/>
                    <a:pt x="1178433" y="0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C70B323E-0C7C-45B6-A3AE-222E94AD912E}"/>
                </a:ext>
              </a:extLst>
            </p:cNvPr>
            <p:cNvSpPr/>
            <p:nvPr/>
          </p:nvSpPr>
          <p:spPr>
            <a:xfrm>
              <a:off x="2036426" y="3830118"/>
              <a:ext cx="185973" cy="242767"/>
            </a:xfrm>
            <a:custGeom>
              <a:avLst/>
              <a:gdLst>
                <a:gd name="connsiteX0" fmla="*/ 0 w 67056"/>
                <a:gd name="connsiteY0" fmla="*/ 0 h 87534"/>
                <a:gd name="connsiteX1" fmla="*/ 67056 w 67056"/>
                <a:gd name="connsiteY1" fmla="*/ 0 h 87534"/>
                <a:gd name="connsiteX2" fmla="*/ 67056 w 67056"/>
                <a:gd name="connsiteY2" fmla="*/ 87535 h 87534"/>
                <a:gd name="connsiteX3" fmla="*/ 0 w 67056"/>
                <a:gd name="connsiteY3" fmla="*/ 87535 h 87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056" h="87534">
                  <a:moveTo>
                    <a:pt x="0" y="0"/>
                  </a:moveTo>
                  <a:lnTo>
                    <a:pt x="67056" y="0"/>
                  </a:lnTo>
                  <a:lnTo>
                    <a:pt x="67056" y="87535"/>
                  </a:lnTo>
                  <a:lnTo>
                    <a:pt x="0" y="87535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CF5942CC-6044-41F9-90AB-7F7F0724643E}"/>
                </a:ext>
              </a:extLst>
            </p:cNvPr>
            <p:cNvGrpSpPr/>
            <p:nvPr/>
          </p:nvGrpSpPr>
          <p:grpSpPr>
            <a:xfrm>
              <a:off x="1109739" y="3938329"/>
              <a:ext cx="4496602" cy="754906"/>
              <a:chOff x="1109739" y="1550749"/>
              <a:chExt cx="4496602" cy="754906"/>
            </a:xfrm>
          </p:grpSpPr>
          <p:sp>
            <p:nvSpPr>
              <p:cNvPr id="83" name="TextBox 82">
                <a:extLst>
                  <a:ext uri="{FF2B5EF4-FFF2-40B4-BE49-F238E27FC236}">
                    <a16:creationId xmlns:a16="http://schemas.microsoft.com/office/drawing/2014/main" id="{3569C779-94EE-4B5F-A61E-6FCC404AB05F}"/>
                  </a:ext>
                </a:extLst>
              </p:cNvPr>
              <p:cNvSpPr txBox="1"/>
              <p:nvPr/>
            </p:nvSpPr>
            <p:spPr>
              <a:xfrm>
                <a:off x="1109739" y="1550749"/>
                <a:ext cx="771365" cy="646331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l"/>
                <a:r>
                  <a:rPr lang="en-US" sz="3600" spc="0" baseline="0" dirty="0">
                    <a:solidFill>
                      <a:schemeClr val="bg1"/>
                    </a:solidFill>
                    <a:latin typeface="+mj-lt"/>
                    <a:sym typeface="Raleway"/>
                    <a:rtl val="0"/>
                  </a:rPr>
                  <a:t>03</a:t>
                </a:r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C52E1376-30F6-4673-8484-4DDEBD3A8824}"/>
                  </a:ext>
                </a:extLst>
              </p:cNvPr>
              <p:cNvSpPr txBox="1"/>
              <p:nvPr/>
            </p:nvSpPr>
            <p:spPr>
              <a:xfrm>
                <a:off x="2291640" y="1843990"/>
                <a:ext cx="331470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d-ID" sz="1200" dirty="0">
                    <a:solidFill>
                      <a:schemeClr val="bg1"/>
                    </a:solidFill>
                  </a:rPr>
                  <a:t>Lorem ipsum dolor sit amet, consectetuer adipiscing elit, sed diam nonummy. </a:t>
                </a:r>
              </a:p>
            </p:txBody>
          </p:sp>
          <p:sp>
            <p:nvSpPr>
              <p:cNvPr id="85" name="TextBox 84">
                <a:extLst>
                  <a:ext uri="{FF2B5EF4-FFF2-40B4-BE49-F238E27FC236}">
                    <a16:creationId xmlns:a16="http://schemas.microsoft.com/office/drawing/2014/main" id="{C3634C03-7E28-49C7-B7AA-833945C76CBA}"/>
                  </a:ext>
                </a:extLst>
              </p:cNvPr>
              <p:cNvSpPr txBox="1"/>
              <p:nvPr/>
            </p:nvSpPr>
            <p:spPr>
              <a:xfrm>
                <a:off x="2291640" y="1550749"/>
                <a:ext cx="258772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d-ID" sz="1600" dirty="0">
                    <a:solidFill>
                      <a:schemeClr val="bg1"/>
                    </a:solidFill>
                    <a:latin typeface="+mj-lt"/>
                  </a:rPr>
                  <a:t>Insert title here</a:t>
                </a:r>
              </a:p>
            </p:txBody>
          </p:sp>
        </p:grp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5948956-A39B-4B88-8359-E135ACD6985B}"/>
              </a:ext>
            </a:extLst>
          </p:cNvPr>
          <p:cNvGrpSpPr/>
          <p:nvPr/>
        </p:nvGrpSpPr>
        <p:grpSpPr>
          <a:xfrm>
            <a:off x="982663" y="5035775"/>
            <a:ext cx="4692923" cy="1057457"/>
            <a:chOff x="982663" y="5035775"/>
            <a:chExt cx="4692923" cy="1057457"/>
          </a:xfrm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2609584C-2B5A-4081-B82A-C6B8A63111F9}"/>
                </a:ext>
              </a:extLst>
            </p:cNvPr>
            <p:cNvSpPr/>
            <p:nvPr/>
          </p:nvSpPr>
          <p:spPr>
            <a:xfrm>
              <a:off x="982663" y="5035775"/>
              <a:ext cx="1053760" cy="910581"/>
            </a:xfrm>
            <a:custGeom>
              <a:avLst/>
              <a:gdLst>
                <a:gd name="connsiteX0" fmla="*/ 379952 w 379952"/>
                <a:gd name="connsiteY0" fmla="*/ 0 h 328326"/>
                <a:gd name="connsiteX1" fmla="*/ 38576 w 379952"/>
                <a:gd name="connsiteY1" fmla="*/ 0 h 328326"/>
                <a:gd name="connsiteX2" fmla="*/ 0 w 379952"/>
                <a:gd name="connsiteY2" fmla="*/ 38576 h 328326"/>
                <a:gd name="connsiteX3" fmla="*/ 0 w 379952"/>
                <a:gd name="connsiteY3" fmla="*/ 290227 h 328326"/>
                <a:gd name="connsiteX4" fmla="*/ 38576 w 379952"/>
                <a:gd name="connsiteY4" fmla="*/ 328327 h 328326"/>
                <a:gd name="connsiteX5" fmla="*/ 329851 w 379952"/>
                <a:gd name="connsiteY5" fmla="*/ 328327 h 328326"/>
                <a:gd name="connsiteX6" fmla="*/ 379952 w 379952"/>
                <a:gd name="connsiteY6" fmla="*/ 278416 h 328326"/>
                <a:gd name="connsiteX7" fmla="*/ 379952 w 379952"/>
                <a:gd name="connsiteY7" fmla="*/ 278225 h 32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9952" h="328326">
                  <a:moveTo>
                    <a:pt x="379952" y="0"/>
                  </a:moveTo>
                  <a:lnTo>
                    <a:pt x="38576" y="0"/>
                  </a:lnTo>
                  <a:cubicBezTo>
                    <a:pt x="17297" y="48"/>
                    <a:pt x="57" y="17297"/>
                    <a:pt x="0" y="38576"/>
                  </a:cubicBezTo>
                  <a:lnTo>
                    <a:pt x="0" y="290227"/>
                  </a:lnTo>
                  <a:cubicBezTo>
                    <a:pt x="315" y="311325"/>
                    <a:pt x="17479" y="328279"/>
                    <a:pt x="38576" y="328327"/>
                  </a:cubicBezTo>
                  <a:lnTo>
                    <a:pt x="329851" y="328327"/>
                  </a:lnTo>
                  <a:cubicBezTo>
                    <a:pt x="357464" y="328384"/>
                    <a:pt x="379895" y="306038"/>
                    <a:pt x="379952" y="278416"/>
                  </a:cubicBezTo>
                  <a:cubicBezTo>
                    <a:pt x="379952" y="278349"/>
                    <a:pt x="379952" y="278292"/>
                    <a:pt x="379952" y="278225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439E9A0D-77B9-43B1-8AFE-273A10BA1BCA}"/>
                </a:ext>
              </a:extLst>
            </p:cNvPr>
            <p:cNvSpPr/>
            <p:nvPr/>
          </p:nvSpPr>
          <p:spPr>
            <a:xfrm>
              <a:off x="2222399" y="5035775"/>
              <a:ext cx="3453187" cy="1057457"/>
            </a:xfrm>
            <a:custGeom>
              <a:avLst/>
              <a:gdLst>
                <a:gd name="connsiteX0" fmla="*/ 1178433 w 1245108"/>
                <a:gd name="connsiteY0" fmla="*/ 0 h 381285"/>
                <a:gd name="connsiteX1" fmla="*/ 0 w 1245108"/>
                <a:gd name="connsiteY1" fmla="*/ 0 h 381285"/>
                <a:gd name="connsiteX2" fmla="*/ 0 w 1245108"/>
                <a:gd name="connsiteY2" fmla="*/ 297275 h 381285"/>
                <a:gd name="connsiteX3" fmla="*/ 84011 w 1245108"/>
                <a:gd name="connsiteY3" fmla="*/ 381286 h 381285"/>
                <a:gd name="connsiteX4" fmla="*/ 84106 w 1245108"/>
                <a:gd name="connsiteY4" fmla="*/ 381286 h 381285"/>
                <a:gd name="connsiteX5" fmla="*/ 1178433 w 1245108"/>
                <a:gd name="connsiteY5" fmla="*/ 381286 h 381285"/>
                <a:gd name="connsiteX6" fmla="*/ 1245108 w 1245108"/>
                <a:gd name="connsiteY6" fmla="*/ 314611 h 381285"/>
                <a:gd name="connsiteX7" fmla="*/ 1245108 w 1245108"/>
                <a:gd name="connsiteY7" fmla="*/ 66961 h 381285"/>
                <a:gd name="connsiteX8" fmla="*/ 1178719 w 1245108"/>
                <a:gd name="connsiteY8" fmla="*/ 0 h 381285"/>
                <a:gd name="connsiteX9" fmla="*/ 1178433 w 1245108"/>
                <a:gd name="connsiteY9" fmla="*/ 0 h 381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5108" h="381285">
                  <a:moveTo>
                    <a:pt x="1178433" y="0"/>
                  </a:moveTo>
                  <a:lnTo>
                    <a:pt x="0" y="0"/>
                  </a:lnTo>
                  <a:lnTo>
                    <a:pt x="0" y="297275"/>
                  </a:lnTo>
                  <a:cubicBezTo>
                    <a:pt x="0" y="343671"/>
                    <a:pt x="37614" y="381286"/>
                    <a:pt x="84011" y="381286"/>
                  </a:cubicBezTo>
                  <a:cubicBezTo>
                    <a:pt x="84039" y="381286"/>
                    <a:pt x="84077" y="381286"/>
                    <a:pt x="84106" y="381286"/>
                  </a:cubicBezTo>
                  <a:lnTo>
                    <a:pt x="1178433" y="381286"/>
                  </a:lnTo>
                  <a:cubicBezTo>
                    <a:pt x="1215257" y="381286"/>
                    <a:pt x="1245108" y="351434"/>
                    <a:pt x="1245108" y="314611"/>
                  </a:cubicBezTo>
                  <a:lnTo>
                    <a:pt x="1245108" y="66961"/>
                  </a:lnTo>
                  <a:cubicBezTo>
                    <a:pt x="1245270" y="30137"/>
                    <a:pt x="1215542" y="162"/>
                    <a:pt x="1178719" y="0"/>
                  </a:cubicBezTo>
                  <a:cubicBezTo>
                    <a:pt x="1178623" y="0"/>
                    <a:pt x="1178528" y="0"/>
                    <a:pt x="1178433" y="0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A132A48B-7564-4C9D-8332-5965AE2784D2}"/>
                </a:ext>
              </a:extLst>
            </p:cNvPr>
            <p:cNvSpPr/>
            <p:nvPr/>
          </p:nvSpPr>
          <p:spPr>
            <a:xfrm>
              <a:off x="2036426" y="5035775"/>
              <a:ext cx="185973" cy="242767"/>
            </a:xfrm>
            <a:custGeom>
              <a:avLst/>
              <a:gdLst>
                <a:gd name="connsiteX0" fmla="*/ 0 w 67056"/>
                <a:gd name="connsiteY0" fmla="*/ 0 h 87534"/>
                <a:gd name="connsiteX1" fmla="*/ 67056 w 67056"/>
                <a:gd name="connsiteY1" fmla="*/ 0 h 87534"/>
                <a:gd name="connsiteX2" fmla="*/ 67056 w 67056"/>
                <a:gd name="connsiteY2" fmla="*/ 87535 h 87534"/>
                <a:gd name="connsiteX3" fmla="*/ 0 w 67056"/>
                <a:gd name="connsiteY3" fmla="*/ 87535 h 87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056" h="87534">
                  <a:moveTo>
                    <a:pt x="0" y="0"/>
                  </a:moveTo>
                  <a:lnTo>
                    <a:pt x="67056" y="0"/>
                  </a:lnTo>
                  <a:lnTo>
                    <a:pt x="67056" y="87535"/>
                  </a:lnTo>
                  <a:lnTo>
                    <a:pt x="0" y="87535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FE4899E0-4462-4144-ABA3-0A7AB187F0B8}"/>
                </a:ext>
              </a:extLst>
            </p:cNvPr>
            <p:cNvGrpSpPr/>
            <p:nvPr/>
          </p:nvGrpSpPr>
          <p:grpSpPr>
            <a:xfrm>
              <a:off x="1109739" y="5142629"/>
              <a:ext cx="4496602" cy="754906"/>
              <a:chOff x="1109739" y="1550749"/>
              <a:chExt cx="4496602" cy="754906"/>
            </a:xfrm>
          </p:grpSpPr>
          <p:sp>
            <p:nvSpPr>
              <p:cNvPr id="87" name="TextBox 86">
                <a:extLst>
                  <a:ext uri="{FF2B5EF4-FFF2-40B4-BE49-F238E27FC236}">
                    <a16:creationId xmlns:a16="http://schemas.microsoft.com/office/drawing/2014/main" id="{8720E0EF-B84D-41DF-B8C2-10557FA3A091}"/>
                  </a:ext>
                </a:extLst>
              </p:cNvPr>
              <p:cNvSpPr txBox="1"/>
              <p:nvPr/>
            </p:nvSpPr>
            <p:spPr>
              <a:xfrm>
                <a:off x="1109739" y="1550749"/>
                <a:ext cx="771365" cy="646331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l"/>
                <a:r>
                  <a:rPr lang="en-US" sz="3600" spc="0" baseline="0" dirty="0">
                    <a:solidFill>
                      <a:schemeClr val="bg1"/>
                    </a:solidFill>
                    <a:latin typeface="+mj-lt"/>
                    <a:sym typeface="Raleway"/>
                    <a:rtl val="0"/>
                  </a:rPr>
                  <a:t>04</a:t>
                </a: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B7447E53-49E3-44AC-8EF0-D6AD79CB6B0B}"/>
                  </a:ext>
                </a:extLst>
              </p:cNvPr>
              <p:cNvSpPr txBox="1"/>
              <p:nvPr/>
            </p:nvSpPr>
            <p:spPr>
              <a:xfrm>
                <a:off x="2291640" y="1843990"/>
                <a:ext cx="331470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d-ID" sz="1200" dirty="0">
                    <a:solidFill>
                      <a:schemeClr val="bg1"/>
                    </a:solidFill>
                  </a:rPr>
                  <a:t>Lorem ipsum dolor sit amet, consectetuer adipiscing elit, sed diam nonummy. </a:t>
                </a:r>
              </a:p>
            </p:txBody>
          </p:sp>
          <p:sp>
            <p:nvSpPr>
              <p:cNvPr id="89" name="TextBox 88">
                <a:extLst>
                  <a:ext uri="{FF2B5EF4-FFF2-40B4-BE49-F238E27FC236}">
                    <a16:creationId xmlns:a16="http://schemas.microsoft.com/office/drawing/2014/main" id="{E0096911-B530-43B9-BF3E-657F59A81FD9}"/>
                  </a:ext>
                </a:extLst>
              </p:cNvPr>
              <p:cNvSpPr txBox="1"/>
              <p:nvPr/>
            </p:nvSpPr>
            <p:spPr>
              <a:xfrm>
                <a:off x="2291640" y="1550749"/>
                <a:ext cx="258772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d-ID" sz="1600" dirty="0">
                    <a:solidFill>
                      <a:schemeClr val="bg1"/>
                    </a:solidFill>
                    <a:latin typeface="+mj-lt"/>
                  </a:rPr>
                  <a:t>Insert title here</a:t>
                </a: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15874BC-F071-4A7F-9965-89975B44311E}"/>
              </a:ext>
            </a:extLst>
          </p:cNvPr>
          <p:cNvGrpSpPr/>
          <p:nvPr/>
        </p:nvGrpSpPr>
        <p:grpSpPr>
          <a:xfrm>
            <a:off x="6516414" y="1418541"/>
            <a:ext cx="4692920" cy="1057197"/>
            <a:chOff x="6516414" y="1418541"/>
            <a:chExt cx="4692920" cy="1057197"/>
          </a:xfrm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481E967-4E62-41F5-9ECE-48A1826A35B4}"/>
                </a:ext>
              </a:extLst>
            </p:cNvPr>
            <p:cNvSpPr/>
            <p:nvPr/>
          </p:nvSpPr>
          <p:spPr>
            <a:xfrm>
              <a:off x="6516414" y="1419071"/>
              <a:ext cx="1053760" cy="911110"/>
            </a:xfrm>
            <a:custGeom>
              <a:avLst/>
              <a:gdLst>
                <a:gd name="connsiteX0" fmla="*/ 379952 w 379952"/>
                <a:gd name="connsiteY0" fmla="*/ 0 h 328517"/>
                <a:gd name="connsiteX1" fmla="*/ 38576 w 379952"/>
                <a:gd name="connsiteY1" fmla="*/ 0 h 328517"/>
                <a:gd name="connsiteX2" fmla="*/ 0 w 379952"/>
                <a:gd name="connsiteY2" fmla="*/ 38100 h 328517"/>
                <a:gd name="connsiteX3" fmla="*/ 0 w 379952"/>
                <a:gd name="connsiteY3" fmla="*/ 289941 h 328517"/>
                <a:gd name="connsiteX4" fmla="*/ 38576 w 379952"/>
                <a:gd name="connsiteY4" fmla="*/ 328517 h 328517"/>
                <a:gd name="connsiteX5" fmla="*/ 329851 w 379952"/>
                <a:gd name="connsiteY5" fmla="*/ 328517 h 328517"/>
                <a:gd name="connsiteX6" fmla="*/ 379952 w 379952"/>
                <a:gd name="connsiteY6" fmla="*/ 278416 h 328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9952" h="328517">
                  <a:moveTo>
                    <a:pt x="379952" y="0"/>
                  </a:moveTo>
                  <a:lnTo>
                    <a:pt x="38576" y="0"/>
                  </a:lnTo>
                  <a:cubicBezTo>
                    <a:pt x="17479" y="50"/>
                    <a:pt x="315" y="17003"/>
                    <a:pt x="0" y="38100"/>
                  </a:cubicBezTo>
                  <a:lnTo>
                    <a:pt x="0" y="289941"/>
                  </a:lnTo>
                  <a:cubicBezTo>
                    <a:pt x="48" y="311225"/>
                    <a:pt x="17297" y="328465"/>
                    <a:pt x="38576" y="328517"/>
                  </a:cubicBezTo>
                  <a:lnTo>
                    <a:pt x="329851" y="328517"/>
                  </a:lnTo>
                  <a:cubicBezTo>
                    <a:pt x="357521" y="328517"/>
                    <a:pt x="379952" y="306086"/>
                    <a:pt x="379952" y="278416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E7869A3-1EF7-4F7C-BBFB-2A55C83CC05C}"/>
                </a:ext>
              </a:extLst>
            </p:cNvPr>
            <p:cNvSpPr/>
            <p:nvPr/>
          </p:nvSpPr>
          <p:spPr>
            <a:xfrm>
              <a:off x="7756150" y="1419071"/>
              <a:ext cx="3453184" cy="1056667"/>
            </a:xfrm>
            <a:custGeom>
              <a:avLst/>
              <a:gdLst>
                <a:gd name="connsiteX0" fmla="*/ 1178433 w 1245107"/>
                <a:gd name="connsiteY0" fmla="*/ 0 h 381000"/>
                <a:gd name="connsiteX1" fmla="*/ 0 w 1245107"/>
                <a:gd name="connsiteY1" fmla="*/ 0 h 381000"/>
                <a:gd name="connsiteX2" fmla="*/ 0 w 1245107"/>
                <a:gd name="connsiteY2" fmla="*/ 297180 h 381000"/>
                <a:gd name="connsiteX3" fmla="*/ 83820 w 1245107"/>
                <a:gd name="connsiteY3" fmla="*/ 381000 h 381000"/>
                <a:gd name="connsiteX4" fmla="*/ 1178433 w 1245107"/>
                <a:gd name="connsiteY4" fmla="*/ 381000 h 381000"/>
                <a:gd name="connsiteX5" fmla="*/ 1245108 w 1245107"/>
                <a:gd name="connsiteY5" fmla="*/ 314325 h 381000"/>
                <a:gd name="connsiteX6" fmla="*/ 1245108 w 1245107"/>
                <a:gd name="connsiteY6" fmla="*/ 66675 h 381000"/>
                <a:gd name="connsiteX7" fmla="*/ 1178433 w 1245107"/>
                <a:gd name="connsiteY7" fmla="*/ 0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5107" h="381000">
                  <a:moveTo>
                    <a:pt x="1178433" y="0"/>
                  </a:moveTo>
                  <a:lnTo>
                    <a:pt x="0" y="0"/>
                  </a:lnTo>
                  <a:lnTo>
                    <a:pt x="0" y="297180"/>
                  </a:lnTo>
                  <a:cubicBezTo>
                    <a:pt x="152" y="343408"/>
                    <a:pt x="37595" y="380843"/>
                    <a:pt x="83820" y="381000"/>
                  </a:cubicBezTo>
                  <a:lnTo>
                    <a:pt x="1178433" y="381000"/>
                  </a:lnTo>
                  <a:cubicBezTo>
                    <a:pt x="1215257" y="381000"/>
                    <a:pt x="1245108" y="351149"/>
                    <a:pt x="1245108" y="314325"/>
                  </a:cubicBezTo>
                  <a:lnTo>
                    <a:pt x="1245108" y="66675"/>
                  </a:lnTo>
                  <a:cubicBezTo>
                    <a:pt x="1245108" y="29851"/>
                    <a:pt x="1215257" y="0"/>
                    <a:pt x="1178433" y="0"/>
                  </a:cubicBezTo>
                  <a:close/>
                </a:path>
              </a:pathLst>
            </a:custGeom>
            <a:solidFill>
              <a:schemeClr val="accent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780DDC9-62B1-4DEF-9CA0-3EA1729C4C3B}"/>
                </a:ext>
              </a:extLst>
            </p:cNvPr>
            <p:cNvSpPr/>
            <p:nvPr/>
          </p:nvSpPr>
          <p:spPr>
            <a:xfrm>
              <a:off x="7570177" y="1418541"/>
              <a:ext cx="185973" cy="242767"/>
            </a:xfrm>
            <a:custGeom>
              <a:avLst/>
              <a:gdLst>
                <a:gd name="connsiteX0" fmla="*/ 0 w 67056"/>
                <a:gd name="connsiteY0" fmla="*/ 0 h 87534"/>
                <a:gd name="connsiteX1" fmla="*/ 67056 w 67056"/>
                <a:gd name="connsiteY1" fmla="*/ 0 h 87534"/>
                <a:gd name="connsiteX2" fmla="*/ 67056 w 67056"/>
                <a:gd name="connsiteY2" fmla="*/ 87535 h 87534"/>
                <a:gd name="connsiteX3" fmla="*/ 0 w 67056"/>
                <a:gd name="connsiteY3" fmla="*/ 87535 h 87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056" h="87534">
                  <a:moveTo>
                    <a:pt x="0" y="0"/>
                  </a:moveTo>
                  <a:lnTo>
                    <a:pt x="67056" y="0"/>
                  </a:lnTo>
                  <a:lnTo>
                    <a:pt x="67056" y="87535"/>
                  </a:lnTo>
                  <a:lnTo>
                    <a:pt x="0" y="87535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999AB0C9-58A0-44AF-8258-B2B92BE81B0F}"/>
                </a:ext>
              </a:extLst>
            </p:cNvPr>
            <p:cNvGrpSpPr/>
            <p:nvPr/>
          </p:nvGrpSpPr>
          <p:grpSpPr>
            <a:xfrm>
              <a:off x="6660186" y="1529729"/>
              <a:ext cx="4496602" cy="754906"/>
              <a:chOff x="1109739" y="1550749"/>
              <a:chExt cx="4496602" cy="754906"/>
            </a:xfrm>
          </p:grpSpPr>
          <p:sp>
            <p:nvSpPr>
              <p:cNvPr id="105" name="TextBox 104">
                <a:extLst>
                  <a:ext uri="{FF2B5EF4-FFF2-40B4-BE49-F238E27FC236}">
                    <a16:creationId xmlns:a16="http://schemas.microsoft.com/office/drawing/2014/main" id="{B50EC204-C0CD-4724-9843-6B6DCEBCA94D}"/>
                  </a:ext>
                </a:extLst>
              </p:cNvPr>
              <p:cNvSpPr txBox="1"/>
              <p:nvPr/>
            </p:nvSpPr>
            <p:spPr>
              <a:xfrm>
                <a:off x="1109739" y="1550749"/>
                <a:ext cx="771365" cy="646331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l"/>
                <a:r>
                  <a:rPr lang="en-US" sz="3600" spc="0" baseline="0" dirty="0">
                    <a:solidFill>
                      <a:schemeClr val="bg1"/>
                    </a:solidFill>
                    <a:latin typeface="+mj-lt"/>
                    <a:sym typeface="Raleway"/>
                    <a:rtl val="0"/>
                  </a:rPr>
                  <a:t>05</a:t>
                </a:r>
              </a:p>
            </p:txBody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51307417-A90E-4C47-BDA0-63FE48FCF2E0}"/>
                  </a:ext>
                </a:extLst>
              </p:cNvPr>
              <p:cNvSpPr txBox="1"/>
              <p:nvPr/>
            </p:nvSpPr>
            <p:spPr>
              <a:xfrm>
                <a:off x="2291640" y="1843990"/>
                <a:ext cx="331470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d-ID" sz="1200" dirty="0">
                    <a:solidFill>
                      <a:schemeClr val="bg1"/>
                    </a:solidFill>
                  </a:rPr>
                  <a:t>Lorem ipsum dolor sit amet, consectetuer adipiscing elit, sed diam nonummy. </a:t>
                </a:r>
              </a:p>
            </p:txBody>
          </p:sp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1A9D97B9-7111-4A31-ADE9-193676EB1B3D}"/>
                  </a:ext>
                </a:extLst>
              </p:cNvPr>
              <p:cNvSpPr txBox="1"/>
              <p:nvPr/>
            </p:nvSpPr>
            <p:spPr>
              <a:xfrm>
                <a:off x="2291640" y="1550749"/>
                <a:ext cx="258772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d-ID" sz="1600" dirty="0">
                    <a:solidFill>
                      <a:schemeClr val="bg1"/>
                    </a:solidFill>
                    <a:latin typeface="+mj-lt"/>
                  </a:rPr>
                  <a:t>Insert title here</a:t>
                </a:r>
              </a:p>
            </p:txBody>
          </p:sp>
        </p:grp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82CE825-DB64-44FE-98A0-40B070053900}"/>
              </a:ext>
            </a:extLst>
          </p:cNvPr>
          <p:cNvGrpSpPr/>
          <p:nvPr/>
        </p:nvGrpSpPr>
        <p:grpSpPr>
          <a:xfrm>
            <a:off x="6516414" y="2624198"/>
            <a:ext cx="4692923" cy="1057457"/>
            <a:chOff x="6516414" y="2624198"/>
            <a:chExt cx="4692923" cy="1057457"/>
          </a:xfrm>
        </p:grpSpPr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2BAE572D-B5A0-4E49-9753-4102A0FDD2E6}"/>
                </a:ext>
              </a:extLst>
            </p:cNvPr>
            <p:cNvSpPr/>
            <p:nvPr/>
          </p:nvSpPr>
          <p:spPr>
            <a:xfrm>
              <a:off x="6516414" y="2624198"/>
              <a:ext cx="1053760" cy="910581"/>
            </a:xfrm>
            <a:custGeom>
              <a:avLst/>
              <a:gdLst>
                <a:gd name="connsiteX0" fmla="*/ 379952 w 379952"/>
                <a:gd name="connsiteY0" fmla="*/ 0 h 328326"/>
                <a:gd name="connsiteX1" fmla="*/ 38576 w 379952"/>
                <a:gd name="connsiteY1" fmla="*/ 0 h 328326"/>
                <a:gd name="connsiteX2" fmla="*/ 0 w 379952"/>
                <a:gd name="connsiteY2" fmla="*/ 38576 h 328326"/>
                <a:gd name="connsiteX3" fmla="*/ 0 w 379952"/>
                <a:gd name="connsiteY3" fmla="*/ 290227 h 328326"/>
                <a:gd name="connsiteX4" fmla="*/ 38576 w 379952"/>
                <a:gd name="connsiteY4" fmla="*/ 328327 h 328326"/>
                <a:gd name="connsiteX5" fmla="*/ 329851 w 379952"/>
                <a:gd name="connsiteY5" fmla="*/ 328327 h 328326"/>
                <a:gd name="connsiteX6" fmla="*/ 379952 w 379952"/>
                <a:gd name="connsiteY6" fmla="*/ 278416 h 328326"/>
                <a:gd name="connsiteX7" fmla="*/ 379952 w 379952"/>
                <a:gd name="connsiteY7" fmla="*/ 278225 h 32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9952" h="328326">
                  <a:moveTo>
                    <a:pt x="379952" y="0"/>
                  </a:moveTo>
                  <a:lnTo>
                    <a:pt x="38576" y="0"/>
                  </a:lnTo>
                  <a:cubicBezTo>
                    <a:pt x="17297" y="52"/>
                    <a:pt x="57" y="17293"/>
                    <a:pt x="0" y="38576"/>
                  </a:cubicBezTo>
                  <a:lnTo>
                    <a:pt x="0" y="290227"/>
                  </a:lnTo>
                  <a:cubicBezTo>
                    <a:pt x="315" y="311324"/>
                    <a:pt x="17479" y="328277"/>
                    <a:pt x="38576" y="328327"/>
                  </a:cubicBezTo>
                  <a:lnTo>
                    <a:pt x="329851" y="328327"/>
                  </a:lnTo>
                  <a:cubicBezTo>
                    <a:pt x="357464" y="328379"/>
                    <a:pt x="379895" y="306033"/>
                    <a:pt x="379952" y="278416"/>
                  </a:cubicBezTo>
                  <a:cubicBezTo>
                    <a:pt x="379952" y="278352"/>
                    <a:pt x="379952" y="278289"/>
                    <a:pt x="379952" y="278225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8188C136-4127-435A-ABFF-29DFE3DEC312}"/>
                </a:ext>
              </a:extLst>
            </p:cNvPr>
            <p:cNvSpPr/>
            <p:nvPr/>
          </p:nvSpPr>
          <p:spPr>
            <a:xfrm>
              <a:off x="7756150" y="2624198"/>
              <a:ext cx="3453187" cy="1057457"/>
            </a:xfrm>
            <a:custGeom>
              <a:avLst/>
              <a:gdLst>
                <a:gd name="connsiteX0" fmla="*/ 1178433 w 1245108"/>
                <a:gd name="connsiteY0" fmla="*/ 0 h 381285"/>
                <a:gd name="connsiteX1" fmla="*/ 0 w 1245108"/>
                <a:gd name="connsiteY1" fmla="*/ 0 h 381285"/>
                <a:gd name="connsiteX2" fmla="*/ 0 w 1245108"/>
                <a:gd name="connsiteY2" fmla="*/ 297275 h 381285"/>
                <a:gd name="connsiteX3" fmla="*/ 83820 w 1245108"/>
                <a:gd name="connsiteY3" fmla="*/ 381286 h 381285"/>
                <a:gd name="connsiteX4" fmla="*/ 1178433 w 1245108"/>
                <a:gd name="connsiteY4" fmla="*/ 381286 h 381285"/>
                <a:gd name="connsiteX5" fmla="*/ 1245108 w 1245108"/>
                <a:gd name="connsiteY5" fmla="*/ 314611 h 381285"/>
                <a:gd name="connsiteX6" fmla="*/ 1245108 w 1245108"/>
                <a:gd name="connsiteY6" fmla="*/ 66961 h 381285"/>
                <a:gd name="connsiteX7" fmla="*/ 1178719 w 1245108"/>
                <a:gd name="connsiteY7" fmla="*/ 1 h 381285"/>
                <a:gd name="connsiteX8" fmla="*/ 1178433 w 1245108"/>
                <a:gd name="connsiteY8" fmla="*/ 0 h 381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5108" h="381285">
                  <a:moveTo>
                    <a:pt x="1178433" y="0"/>
                  </a:moveTo>
                  <a:lnTo>
                    <a:pt x="0" y="0"/>
                  </a:lnTo>
                  <a:lnTo>
                    <a:pt x="0" y="297275"/>
                  </a:lnTo>
                  <a:cubicBezTo>
                    <a:pt x="0" y="343599"/>
                    <a:pt x="37500" y="381181"/>
                    <a:pt x="83820" y="381286"/>
                  </a:cubicBezTo>
                  <a:lnTo>
                    <a:pt x="1178433" y="381286"/>
                  </a:lnTo>
                  <a:cubicBezTo>
                    <a:pt x="1215257" y="381286"/>
                    <a:pt x="1245108" y="351434"/>
                    <a:pt x="1245108" y="314611"/>
                  </a:cubicBezTo>
                  <a:lnTo>
                    <a:pt x="1245108" y="66961"/>
                  </a:lnTo>
                  <a:cubicBezTo>
                    <a:pt x="1245270" y="30137"/>
                    <a:pt x="1215542" y="158"/>
                    <a:pt x="1178719" y="1"/>
                  </a:cubicBezTo>
                  <a:cubicBezTo>
                    <a:pt x="1178623" y="0"/>
                    <a:pt x="1178528" y="0"/>
                    <a:pt x="1178433" y="0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D13CFE6-F329-4D0C-9C44-BBD6BA797FC2}"/>
                </a:ext>
              </a:extLst>
            </p:cNvPr>
            <p:cNvSpPr/>
            <p:nvPr/>
          </p:nvSpPr>
          <p:spPr>
            <a:xfrm>
              <a:off x="7570177" y="2624198"/>
              <a:ext cx="185973" cy="242767"/>
            </a:xfrm>
            <a:custGeom>
              <a:avLst/>
              <a:gdLst>
                <a:gd name="connsiteX0" fmla="*/ 0 w 67056"/>
                <a:gd name="connsiteY0" fmla="*/ 0 h 87534"/>
                <a:gd name="connsiteX1" fmla="*/ 67056 w 67056"/>
                <a:gd name="connsiteY1" fmla="*/ 0 h 87534"/>
                <a:gd name="connsiteX2" fmla="*/ 67056 w 67056"/>
                <a:gd name="connsiteY2" fmla="*/ 87535 h 87534"/>
                <a:gd name="connsiteX3" fmla="*/ 0 w 67056"/>
                <a:gd name="connsiteY3" fmla="*/ 87535 h 87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056" h="87534">
                  <a:moveTo>
                    <a:pt x="0" y="0"/>
                  </a:moveTo>
                  <a:lnTo>
                    <a:pt x="67056" y="0"/>
                  </a:lnTo>
                  <a:lnTo>
                    <a:pt x="67056" y="87535"/>
                  </a:lnTo>
                  <a:lnTo>
                    <a:pt x="0" y="87535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7C1303E2-6548-4A20-A347-60D97771A4EE}"/>
                </a:ext>
              </a:extLst>
            </p:cNvPr>
            <p:cNvGrpSpPr/>
            <p:nvPr/>
          </p:nvGrpSpPr>
          <p:grpSpPr>
            <a:xfrm>
              <a:off x="6660186" y="2734029"/>
              <a:ext cx="4496602" cy="754906"/>
              <a:chOff x="1109739" y="1550749"/>
              <a:chExt cx="4496602" cy="754906"/>
            </a:xfrm>
          </p:grpSpPr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81CDD093-BC51-4964-83D0-114E28A9A078}"/>
                  </a:ext>
                </a:extLst>
              </p:cNvPr>
              <p:cNvSpPr txBox="1"/>
              <p:nvPr/>
            </p:nvSpPr>
            <p:spPr>
              <a:xfrm>
                <a:off x="1109739" y="1550749"/>
                <a:ext cx="771365" cy="646331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l"/>
                <a:r>
                  <a:rPr lang="en-US" sz="3600" spc="0" baseline="0" dirty="0">
                    <a:solidFill>
                      <a:schemeClr val="bg1"/>
                    </a:solidFill>
                    <a:latin typeface="+mj-lt"/>
                    <a:sym typeface="Raleway"/>
                    <a:rtl val="0"/>
                  </a:rPr>
                  <a:t>06</a:t>
                </a:r>
              </a:p>
            </p:txBody>
          </p:sp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F52A2CA4-8740-45F9-A006-C2E18FDDC802}"/>
                  </a:ext>
                </a:extLst>
              </p:cNvPr>
              <p:cNvSpPr txBox="1"/>
              <p:nvPr/>
            </p:nvSpPr>
            <p:spPr>
              <a:xfrm>
                <a:off x="2291640" y="1843990"/>
                <a:ext cx="331470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d-ID" sz="1200" dirty="0">
                    <a:solidFill>
                      <a:schemeClr val="bg1"/>
                    </a:solidFill>
                  </a:rPr>
                  <a:t>Lorem ipsum dolor sit amet, consectetuer adipiscing elit, sed diam nonummy. 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7543D3D6-DF56-432E-8CD7-0314F79E37A4}"/>
                  </a:ext>
                </a:extLst>
              </p:cNvPr>
              <p:cNvSpPr txBox="1"/>
              <p:nvPr/>
            </p:nvSpPr>
            <p:spPr>
              <a:xfrm>
                <a:off x="2291640" y="1550749"/>
                <a:ext cx="258772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d-ID" sz="1600" dirty="0">
                    <a:solidFill>
                      <a:schemeClr val="bg1"/>
                    </a:solidFill>
                    <a:latin typeface="+mj-lt"/>
                  </a:rPr>
                  <a:t>Insert title here</a:t>
                </a: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CE2C166A-A22D-4FBA-B4CC-E7CDD3185B94}"/>
              </a:ext>
            </a:extLst>
          </p:cNvPr>
          <p:cNvGrpSpPr/>
          <p:nvPr/>
        </p:nvGrpSpPr>
        <p:grpSpPr>
          <a:xfrm>
            <a:off x="6516414" y="3830118"/>
            <a:ext cx="4692923" cy="1057457"/>
            <a:chOff x="6516414" y="3830118"/>
            <a:chExt cx="4692923" cy="1057457"/>
          </a:xfrm>
        </p:grpSpPr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353C0637-1C42-44B9-A162-A7B31A5E5620}"/>
                </a:ext>
              </a:extLst>
            </p:cNvPr>
            <p:cNvSpPr/>
            <p:nvPr/>
          </p:nvSpPr>
          <p:spPr>
            <a:xfrm>
              <a:off x="6516414" y="3830118"/>
              <a:ext cx="1053760" cy="910581"/>
            </a:xfrm>
            <a:custGeom>
              <a:avLst/>
              <a:gdLst>
                <a:gd name="connsiteX0" fmla="*/ 379952 w 379952"/>
                <a:gd name="connsiteY0" fmla="*/ 0 h 328326"/>
                <a:gd name="connsiteX1" fmla="*/ 38576 w 379952"/>
                <a:gd name="connsiteY1" fmla="*/ 0 h 328326"/>
                <a:gd name="connsiteX2" fmla="*/ 0 w 379952"/>
                <a:gd name="connsiteY2" fmla="*/ 38100 h 328326"/>
                <a:gd name="connsiteX3" fmla="*/ 0 w 379952"/>
                <a:gd name="connsiteY3" fmla="*/ 289751 h 328326"/>
                <a:gd name="connsiteX4" fmla="*/ 38576 w 379952"/>
                <a:gd name="connsiteY4" fmla="*/ 328327 h 328326"/>
                <a:gd name="connsiteX5" fmla="*/ 329851 w 379952"/>
                <a:gd name="connsiteY5" fmla="*/ 328327 h 328326"/>
                <a:gd name="connsiteX6" fmla="*/ 379952 w 379952"/>
                <a:gd name="connsiteY6" fmla="*/ 278225 h 32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79952" h="328326">
                  <a:moveTo>
                    <a:pt x="379952" y="0"/>
                  </a:moveTo>
                  <a:lnTo>
                    <a:pt x="38576" y="0"/>
                  </a:lnTo>
                  <a:cubicBezTo>
                    <a:pt x="17479" y="48"/>
                    <a:pt x="315" y="17002"/>
                    <a:pt x="0" y="38100"/>
                  </a:cubicBezTo>
                  <a:lnTo>
                    <a:pt x="0" y="289751"/>
                  </a:lnTo>
                  <a:cubicBezTo>
                    <a:pt x="48" y="311029"/>
                    <a:pt x="17297" y="328279"/>
                    <a:pt x="38576" y="328327"/>
                  </a:cubicBezTo>
                  <a:lnTo>
                    <a:pt x="329851" y="328327"/>
                  </a:lnTo>
                  <a:cubicBezTo>
                    <a:pt x="357521" y="328327"/>
                    <a:pt x="379952" y="305895"/>
                    <a:pt x="379952" y="278225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E32BFD5D-86D6-4BCE-8B96-5EBC7909A64F}"/>
                </a:ext>
              </a:extLst>
            </p:cNvPr>
            <p:cNvSpPr/>
            <p:nvPr/>
          </p:nvSpPr>
          <p:spPr>
            <a:xfrm>
              <a:off x="7756150" y="3830118"/>
              <a:ext cx="3453187" cy="1057457"/>
            </a:xfrm>
            <a:custGeom>
              <a:avLst/>
              <a:gdLst>
                <a:gd name="connsiteX0" fmla="*/ 1178433 w 1245108"/>
                <a:gd name="connsiteY0" fmla="*/ 0 h 381285"/>
                <a:gd name="connsiteX1" fmla="*/ 0 w 1245108"/>
                <a:gd name="connsiteY1" fmla="*/ 0 h 381285"/>
                <a:gd name="connsiteX2" fmla="*/ 0 w 1245108"/>
                <a:gd name="connsiteY2" fmla="*/ 297180 h 381285"/>
                <a:gd name="connsiteX3" fmla="*/ 83820 w 1245108"/>
                <a:gd name="connsiteY3" fmla="*/ 381286 h 381285"/>
                <a:gd name="connsiteX4" fmla="*/ 1178433 w 1245108"/>
                <a:gd name="connsiteY4" fmla="*/ 381286 h 381285"/>
                <a:gd name="connsiteX5" fmla="*/ 1245108 w 1245108"/>
                <a:gd name="connsiteY5" fmla="*/ 314611 h 381285"/>
                <a:gd name="connsiteX6" fmla="*/ 1245108 w 1245108"/>
                <a:gd name="connsiteY6" fmla="*/ 66961 h 381285"/>
                <a:gd name="connsiteX7" fmla="*/ 1178719 w 1245108"/>
                <a:gd name="connsiteY7" fmla="*/ 0 h 381285"/>
                <a:gd name="connsiteX8" fmla="*/ 1178433 w 1245108"/>
                <a:gd name="connsiteY8" fmla="*/ 0 h 381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5108" h="381285">
                  <a:moveTo>
                    <a:pt x="1178433" y="0"/>
                  </a:moveTo>
                  <a:lnTo>
                    <a:pt x="0" y="0"/>
                  </a:lnTo>
                  <a:lnTo>
                    <a:pt x="0" y="297180"/>
                  </a:lnTo>
                  <a:cubicBezTo>
                    <a:pt x="0" y="343519"/>
                    <a:pt x="37481" y="381124"/>
                    <a:pt x="83820" y="381286"/>
                  </a:cubicBezTo>
                  <a:lnTo>
                    <a:pt x="1178433" y="381286"/>
                  </a:lnTo>
                  <a:cubicBezTo>
                    <a:pt x="1215257" y="381286"/>
                    <a:pt x="1245108" y="351434"/>
                    <a:pt x="1245108" y="314611"/>
                  </a:cubicBezTo>
                  <a:lnTo>
                    <a:pt x="1245108" y="66961"/>
                  </a:lnTo>
                  <a:cubicBezTo>
                    <a:pt x="1245270" y="30137"/>
                    <a:pt x="1215542" y="162"/>
                    <a:pt x="1178719" y="0"/>
                  </a:cubicBezTo>
                  <a:cubicBezTo>
                    <a:pt x="1178623" y="0"/>
                    <a:pt x="1178528" y="0"/>
                    <a:pt x="1178433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BF25D09B-290B-43C8-AC9A-55243DCB2684}"/>
                </a:ext>
              </a:extLst>
            </p:cNvPr>
            <p:cNvSpPr/>
            <p:nvPr/>
          </p:nvSpPr>
          <p:spPr>
            <a:xfrm>
              <a:off x="7570177" y="3830118"/>
              <a:ext cx="185973" cy="242767"/>
            </a:xfrm>
            <a:custGeom>
              <a:avLst/>
              <a:gdLst>
                <a:gd name="connsiteX0" fmla="*/ 0 w 67056"/>
                <a:gd name="connsiteY0" fmla="*/ 0 h 87534"/>
                <a:gd name="connsiteX1" fmla="*/ 67056 w 67056"/>
                <a:gd name="connsiteY1" fmla="*/ 0 h 87534"/>
                <a:gd name="connsiteX2" fmla="*/ 67056 w 67056"/>
                <a:gd name="connsiteY2" fmla="*/ 87535 h 87534"/>
                <a:gd name="connsiteX3" fmla="*/ 0 w 67056"/>
                <a:gd name="connsiteY3" fmla="*/ 87535 h 87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056" h="87534">
                  <a:moveTo>
                    <a:pt x="0" y="0"/>
                  </a:moveTo>
                  <a:lnTo>
                    <a:pt x="67056" y="0"/>
                  </a:lnTo>
                  <a:lnTo>
                    <a:pt x="67056" y="87535"/>
                  </a:lnTo>
                  <a:lnTo>
                    <a:pt x="0" y="87535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94" name="Group 93">
              <a:extLst>
                <a:ext uri="{FF2B5EF4-FFF2-40B4-BE49-F238E27FC236}">
                  <a16:creationId xmlns:a16="http://schemas.microsoft.com/office/drawing/2014/main" id="{ED937FC2-BCD4-4AAF-921C-059532B6F466}"/>
                </a:ext>
              </a:extLst>
            </p:cNvPr>
            <p:cNvGrpSpPr/>
            <p:nvPr/>
          </p:nvGrpSpPr>
          <p:grpSpPr>
            <a:xfrm>
              <a:off x="6660186" y="3938329"/>
              <a:ext cx="4496602" cy="754906"/>
              <a:chOff x="1109739" y="1550749"/>
              <a:chExt cx="4496602" cy="754906"/>
            </a:xfrm>
          </p:grpSpPr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77E198F0-2B11-48E1-B687-6AFB4ED24E6B}"/>
                  </a:ext>
                </a:extLst>
              </p:cNvPr>
              <p:cNvSpPr txBox="1"/>
              <p:nvPr/>
            </p:nvSpPr>
            <p:spPr>
              <a:xfrm>
                <a:off x="1109739" y="1550749"/>
                <a:ext cx="771365" cy="646331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l"/>
                <a:r>
                  <a:rPr lang="en-US" sz="3600" spc="0" baseline="0" dirty="0">
                    <a:solidFill>
                      <a:schemeClr val="bg1"/>
                    </a:solidFill>
                    <a:latin typeface="+mj-lt"/>
                    <a:sym typeface="Raleway"/>
                    <a:rtl val="0"/>
                  </a:rPr>
                  <a:t>07</a:t>
                </a:r>
              </a:p>
            </p:txBody>
          </p:sp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B9E3B016-4C8E-42BC-AB55-D358B9EAA3F4}"/>
                  </a:ext>
                </a:extLst>
              </p:cNvPr>
              <p:cNvSpPr txBox="1"/>
              <p:nvPr/>
            </p:nvSpPr>
            <p:spPr>
              <a:xfrm>
                <a:off x="2291640" y="1843990"/>
                <a:ext cx="331470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d-ID" sz="1200" dirty="0">
                    <a:solidFill>
                      <a:schemeClr val="bg1"/>
                    </a:solidFill>
                  </a:rPr>
                  <a:t>Lorem ipsum dolor sit amet, consectetuer adipiscing elit, sed diam nonummy. </a:t>
                </a: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8900A934-593D-483E-B85B-AAAB2B809787}"/>
                  </a:ext>
                </a:extLst>
              </p:cNvPr>
              <p:cNvSpPr txBox="1"/>
              <p:nvPr/>
            </p:nvSpPr>
            <p:spPr>
              <a:xfrm>
                <a:off x="2291640" y="1550749"/>
                <a:ext cx="258772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d-ID" sz="1600" dirty="0">
                    <a:solidFill>
                      <a:schemeClr val="bg1"/>
                    </a:solidFill>
                    <a:latin typeface="+mj-lt"/>
                  </a:rPr>
                  <a:t>Insert title here</a:t>
                </a:r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E3E1D2E-3F83-4D55-B957-FEFC24D50278}"/>
              </a:ext>
            </a:extLst>
          </p:cNvPr>
          <p:cNvGrpSpPr/>
          <p:nvPr/>
        </p:nvGrpSpPr>
        <p:grpSpPr>
          <a:xfrm>
            <a:off x="6516414" y="5035775"/>
            <a:ext cx="4692923" cy="1057457"/>
            <a:chOff x="6516414" y="5035775"/>
            <a:chExt cx="4692923" cy="1057457"/>
          </a:xfrm>
        </p:grpSpPr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845E60D9-25A3-4183-A385-227483A68C0A}"/>
                </a:ext>
              </a:extLst>
            </p:cNvPr>
            <p:cNvSpPr/>
            <p:nvPr/>
          </p:nvSpPr>
          <p:spPr>
            <a:xfrm>
              <a:off x="6516414" y="5035775"/>
              <a:ext cx="1053760" cy="910581"/>
            </a:xfrm>
            <a:custGeom>
              <a:avLst/>
              <a:gdLst>
                <a:gd name="connsiteX0" fmla="*/ 379952 w 379952"/>
                <a:gd name="connsiteY0" fmla="*/ 0 h 328326"/>
                <a:gd name="connsiteX1" fmla="*/ 38576 w 379952"/>
                <a:gd name="connsiteY1" fmla="*/ 0 h 328326"/>
                <a:gd name="connsiteX2" fmla="*/ 0 w 379952"/>
                <a:gd name="connsiteY2" fmla="*/ 38576 h 328326"/>
                <a:gd name="connsiteX3" fmla="*/ 0 w 379952"/>
                <a:gd name="connsiteY3" fmla="*/ 290227 h 328326"/>
                <a:gd name="connsiteX4" fmla="*/ 38576 w 379952"/>
                <a:gd name="connsiteY4" fmla="*/ 328327 h 328326"/>
                <a:gd name="connsiteX5" fmla="*/ 329851 w 379952"/>
                <a:gd name="connsiteY5" fmla="*/ 328327 h 328326"/>
                <a:gd name="connsiteX6" fmla="*/ 379952 w 379952"/>
                <a:gd name="connsiteY6" fmla="*/ 278416 h 328326"/>
                <a:gd name="connsiteX7" fmla="*/ 379952 w 379952"/>
                <a:gd name="connsiteY7" fmla="*/ 278225 h 328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79952" h="328326">
                  <a:moveTo>
                    <a:pt x="379952" y="0"/>
                  </a:moveTo>
                  <a:lnTo>
                    <a:pt x="38576" y="0"/>
                  </a:lnTo>
                  <a:cubicBezTo>
                    <a:pt x="17297" y="48"/>
                    <a:pt x="57" y="17297"/>
                    <a:pt x="0" y="38576"/>
                  </a:cubicBezTo>
                  <a:lnTo>
                    <a:pt x="0" y="290227"/>
                  </a:lnTo>
                  <a:cubicBezTo>
                    <a:pt x="315" y="311325"/>
                    <a:pt x="17479" y="328279"/>
                    <a:pt x="38576" y="328327"/>
                  </a:cubicBezTo>
                  <a:lnTo>
                    <a:pt x="329851" y="328327"/>
                  </a:lnTo>
                  <a:cubicBezTo>
                    <a:pt x="357464" y="328384"/>
                    <a:pt x="379895" y="306038"/>
                    <a:pt x="379952" y="278416"/>
                  </a:cubicBezTo>
                  <a:cubicBezTo>
                    <a:pt x="379952" y="278349"/>
                    <a:pt x="379952" y="278292"/>
                    <a:pt x="379952" y="278225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2861C0DB-BBDD-4763-970B-88B875AB3925}"/>
                </a:ext>
              </a:extLst>
            </p:cNvPr>
            <p:cNvSpPr/>
            <p:nvPr/>
          </p:nvSpPr>
          <p:spPr>
            <a:xfrm>
              <a:off x="7756150" y="5035775"/>
              <a:ext cx="3453187" cy="1057457"/>
            </a:xfrm>
            <a:custGeom>
              <a:avLst/>
              <a:gdLst>
                <a:gd name="connsiteX0" fmla="*/ 1178433 w 1245108"/>
                <a:gd name="connsiteY0" fmla="*/ 0 h 381285"/>
                <a:gd name="connsiteX1" fmla="*/ 0 w 1245108"/>
                <a:gd name="connsiteY1" fmla="*/ 0 h 381285"/>
                <a:gd name="connsiteX2" fmla="*/ 0 w 1245108"/>
                <a:gd name="connsiteY2" fmla="*/ 297275 h 381285"/>
                <a:gd name="connsiteX3" fmla="*/ 84011 w 1245108"/>
                <a:gd name="connsiteY3" fmla="*/ 381286 h 381285"/>
                <a:gd name="connsiteX4" fmla="*/ 84106 w 1245108"/>
                <a:gd name="connsiteY4" fmla="*/ 381286 h 381285"/>
                <a:gd name="connsiteX5" fmla="*/ 1178433 w 1245108"/>
                <a:gd name="connsiteY5" fmla="*/ 381286 h 381285"/>
                <a:gd name="connsiteX6" fmla="*/ 1245108 w 1245108"/>
                <a:gd name="connsiteY6" fmla="*/ 314611 h 381285"/>
                <a:gd name="connsiteX7" fmla="*/ 1245108 w 1245108"/>
                <a:gd name="connsiteY7" fmla="*/ 66961 h 381285"/>
                <a:gd name="connsiteX8" fmla="*/ 1178719 w 1245108"/>
                <a:gd name="connsiteY8" fmla="*/ 0 h 381285"/>
                <a:gd name="connsiteX9" fmla="*/ 1178433 w 1245108"/>
                <a:gd name="connsiteY9" fmla="*/ 0 h 381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5108" h="381285">
                  <a:moveTo>
                    <a:pt x="1178433" y="0"/>
                  </a:moveTo>
                  <a:lnTo>
                    <a:pt x="0" y="0"/>
                  </a:lnTo>
                  <a:lnTo>
                    <a:pt x="0" y="297275"/>
                  </a:lnTo>
                  <a:cubicBezTo>
                    <a:pt x="0" y="343671"/>
                    <a:pt x="37614" y="381286"/>
                    <a:pt x="84011" y="381286"/>
                  </a:cubicBezTo>
                  <a:cubicBezTo>
                    <a:pt x="84039" y="381286"/>
                    <a:pt x="84077" y="381286"/>
                    <a:pt x="84106" y="381286"/>
                  </a:cubicBezTo>
                  <a:lnTo>
                    <a:pt x="1178433" y="381286"/>
                  </a:lnTo>
                  <a:cubicBezTo>
                    <a:pt x="1215257" y="381286"/>
                    <a:pt x="1245108" y="351434"/>
                    <a:pt x="1245108" y="314611"/>
                  </a:cubicBezTo>
                  <a:lnTo>
                    <a:pt x="1245108" y="66961"/>
                  </a:lnTo>
                  <a:cubicBezTo>
                    <a:pt x="1245270" y="30137"/>
                    <a:pt x="1215542" y="162"/>
                    <a:pt x="1178719" y="0"/>
                  </a:cubicBezTo>
                  <a:cubicBezTo>
                    <a:pt x="1178623" y="0"/>
                    <a:pt x="1178528" y="0"/>
                    <a:pt x="1178433" y="0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A488F164-C624-488A-9182-581475028BE6}"/>
                </a:ext>
              </a:extLst>
            </p:cNvPr>
            <p:cNvSpPr/>
            <p:nvPr/>
          </p:nvSpPr>
          <p:spPr>
            <a:xfrm>
              <a:off x="7570177" y="5035775"/>
              <a:ext cx="185973" cy="242767"/>
            </a:xfrm>
            <a:custGeom>
              <a:avLst/>
              <a:gdLst>
                <a:gd name="connsiteX0" fmla="*/ 0 w 67056"/>
                <a:gd name="connsiteY0" fmla="*/ 0 h 87534"/>
                <a:gd name="connsiteX1" fmla="*/ 67056 w 67056"/>
                <a:gd name="connsiteY1" fmla="*/ 0 h 87534"/>
                <a:gd name="connsiteX2" fmla="*/ 67056 w 67056"/>
                <a:gd name="connsiteY2" fmla="*/ 87535 h 87534"/>
                <a:gd name="connsiteX3" fmla="*/ 0 w 67056"/>
                <a:gd name="connsiteY3" fmla="*/ 87535 h 87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7056" h="87534">
                  <a:moveTo>
                    <a:pt x="0" y="0"/>
                  </a:moveTo>
                  <a:lnTo>
                    <a:pt x="67056" y="0"/>
                  </a:lnTo>
                  <a:lnTo>
                    <a:pt x="67056" y="87535"/>
                  </a:lnTo>
                  <a:lnTo>
                    <a:pt x="0" y="87535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F84FDC89-E64F-4532-BA27-4C4D1BEFD755}"/>
                </a:ext>
              </a:extLst>
            </p:cNvPr>
            <p:cNvGrpSpPr/>
            <p:nvPr/>
          </p:nvGrpSpPr>
          <p:grpSpPr>
            <a:xfrm>
              <a:off x="6660186" y="5142629"/>
              <a:ext cx="4496602" cy="754906"/>
              <a:chOff x="1109739" y="1550749"/>
              <a:chExt cx="4496602" cy="754906"/>
            </a:xfrm>
          </p:grpSpPr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75466EA0-00BD-4EF2-B013-C0F97146C70B}"/>
                  </a:ext>
                </a:extLst>
              </p:cNvPr>
              <p:cNvSpPr txBox="1"/>
              <p:nvPr/>
            </p:nvSpPr>
            <p:spPr>
              <a:xfrm>
                <a:off x="1109739" y="1550749"/>
                <a:ext cx="771365" cy="646331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l"/>
                <a:r>
                  <a:rPr lang="en-US" sz="3600" spc="0" baseline="0" dirty="0">
                    <a:solidFill>
                      <a:schemeClr val="bg1"/>
                    </a:solidFill>
                    <a:latin typeface="+mj-lt"/>
                    <a:sym typeface="Raleway"/>
                    <a:rtl val="0"/>
                  </a:rPr>
                  <a:t>08</a:t>
                </a: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6268D898-8EF5-4F3D-8FAC-FFB6790BDBBC}"/>
                  </a:ext>
                </a:extLst>
              </p:cNvPr>
              <p:cNvSpPr txBox="1"/>
              <p:nvPr/>
            </p:nvSpPr>
            <p:spPr>
              <a:xfrm>
                <a:off x="2291640" y="1843990"/>
                <a:ext cx="3314701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d-ID" sz="1200" dirty="0">
                    <a:solidFill>
                      <a:schemeClr val="bg1"/>
                    </a:solidFill>
                  </a:rPr>
                  <a:t>Lorem ipsum dolor sit amet, consectetuer adipiscing elit, sed diam nonummy. </a:t>
                </a: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F94375E9-5F0C-408E-A460-B993DE5B95C5}"/>
                  </a:ext>
                </a:extLst>
              </p:cNvPr>
              <p:cNvSpPr txBox="1"/>
              <p:nvPr/>
            </p:nvSpPr>
            <p:spPr>
              <a:xfrm>
                <a:off x="2291640" y="1550749"/>
                <a:ext cx="258772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d-ID" sz="1600" dirty="0">
                    <a:solidFill>
                      <a:schemeClr val="bg1"/>
                    </a:solidFill>
                    <a:latin typeface="+mj-lt"/>
                  </a:rPr>
                  <a:t>Insert title here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9714807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00007D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ARTICULATE_DESIGN_ID_OFFICE THEME" val="syyYgZJJ"/>
  <p:tag name="ARTICULATE_SLIDE_COUNT" val="86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Infographics">
      <a:dk1>
        <a:sysClr val="windowText" lastClr="000000"/>
      </a:dk1>
      <a:lt1>
        <a:sysClr val="window" lastClr="FFFFFF"/>
      </a:lt1>
      <a:dk2>
        <a:srgbClr val="58595B"/>
      </a:dk2>
      <a:lt2>
        <a:srgbClr val="F1F2F2"/>
      </a:lt2>
      <a:accent1>
        <a:srgbClr val="00007D"/>
      </a:accent1>
      <a:accent2>
        <a:srgbClr val="1428A0"/>
      </a:accent2>
      <a:accent3>
        <a:srgbClr val="0077C8"/>
      </a:accent3>
      <a:accent4>
        <a:srgbClr val="00B3E3"/>
      </a:accent4>
      <a:accent5>
        <a:srgbClr val="00C3B2"/>
      </a:accent5>
      <a:accent6>
        <a:srgbClr val="97D653"/>
      </a:accent6>
      <a:hlink>
        <a:srgbClr val="00007D"/>
      </a:hlink>
      <a:folHlink>
        <a:srgbClr val="00007D"/>
      </a:folHlink>
    </a:clrScheme>
    <a:fontScheme name="Custom 157">
      <a:majorFont>
        <a:latin typeface="Tahoma bold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0">
    <wetp:webextensionref xmlns:r="http://schemas.openxmlformats.org/officeDocument/2006/relationships" r:id="rId1"/>
  </wetp:taskpane>
  <wetp:taskpane dockstate="right" visibility="0" width="350" row="9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4F0DB6AD-AA6A-49C8-9264-101355AEA7B2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2E04DD-50D8-4D76-9848-6555A8D2B5D4}">
  <we:reference id="wa200001396" version="2.1.6.0" store="en-001" storeType="OMEX"/>
  <we:alternateReferences>
    <we:reference id="wa200001396" version="2.1.6.0" store="en-001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0110</TotalTime>
  <Words>148</Words>
  <Application>Microsoft Office PowerPoint</Application>
  <PresentationFormat>Widescreen</PresentationFormat>
  <Paragraphs>26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Tahoma</vt:lpstr>
      <vt:lpstr>Tahoma bold</vt:lpstr>
      <vt:lpstr>Office Theme</vt:lpstr>
      <vt:lpstr>Slide Title He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monir</dc:creator>
  <cp:lastModifiedBy>andrew monir</cp:lastModifiedBy>
  <cp:revision>145</cp:revision>
  <dcterms:created xsi:type="dcterms:W3CDTF">2020-11-27T23:09:27Z</dcterms:created>
  <dcterms:modified xsi:type="dcterms:W3CDTF">2021-04-01T23:1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BB15136-D798-4488-8D6D-3187EBF00F3F</vt:lpwstr>
  </property>
  <property fmtid="{D5CDD505-2E9C-101B-9397-08002B2CF9AE}" pid="3" name="ArticulatePath">
    <vt:lpwstr>https://d.docs.live.net/a32d64b1d32ea93c/Infographics/Infographics/Master file</vt:lpwstr>
  </property>
</Properties>
</file>